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0.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webextensions/webextension1.xml" ContentType="application/vnd.ms-office.webextension+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webextensions/webextension2.xml" ContentType="application/vnd.ms-office.webextension+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21"/>
  </p:notesMasterIdLst>
  <p:handoutMasterIdLst>
    <p:handoutMasterId r:id="rId222"/>
  </p:handoutMasterIdLst>
  <p:sldIdLst>
    <p:sldId id="2147469997" r:id="rId16"/>
    <p:sldId id="2134805319" r:id="rId17"/>
    <p:sldId id="361" r:id="rId18"/>
    <p:sldId id="565" r:id="rId19"/>
    <p:sldId id="331" r:id="rId20"/>
    <p:sldId id="2147469893" r:id="rId21"/>
    <p:sldId id="2076137603" r:id="rId22"/>
    <p:sldId id="2147469889" r:id="rId23"/>
    <p:sldId id="2147469890" r:id="rId24"/>
    <p:sldId id="2147469891" r:id="rId25"/>
    <p:sldId id="2134805339" r:id="rId26"/>
    <p:sldId id="2134805401" r:id="rId27"/>
    <p:sldId id="2147470019" r:id="rId28"/>
    <p:sldId id="2134805361" r:id="rId29"/>
    <p:sldId id="2147470029" r:id="rId30"/>
    <p:sldId id="2147469912" r:id="rId31"/>
    <p:sldId id="2147469922" r:id="rId32"/>
    <p:sldId id="2134805395" r:id="rId33"/>
    <p:sldId id="2147469916" r:id="rId34"/>
    <p:sldId id="2147469913" r:id="rId35"/>
    <p:sldId id="2147469914" r:id="rId36"/>
    <p:sldId id="2147469915" r:id="rId37"/>
    <p:sldId id="2147469981" r:id="rId38"/>
    <p:sldId id="2147469917" r:id="rId39"/>
    <p:sldId id="2147469918" r:id="rId40"/>
    <p:sldId id="2134805351" r:id="rId41"/>
    <p:sldId id="2134805352" r:id="rId42"/>
    <p:sldId id="2147469919" r:id="rId43"/>
    <p:sldId id="2134805356" r:id="rId44"/>
    <p:sldId id="2147469920" r:id="rId45"/>
    <p:sldId id="2147470018" r:id="rId46"/>
    <p:sldId id="2134805357" r:id="rId47"/>
    <p:sldId id="2361" r:id="rId48"/>
    <p:sldId id="2134805399" r:id="rId49"/>
    <p:sldId id="2134805391" r:id="rId50"/>
    <p:sldId id="2147470031" r:id="rId51"/>
    <p:sldId id="452" r:id="rId52"/>
    <p:sldId id="2134805322" r:id="rId53"/>
    <p:sldId id="2147470020" r:id="rId54"/>
    <p:sldId id="2134805336" r:id="rId55"/>
    <p:sldId id="2134805397" r:id="rId56"/>
    <p:sldId id="2147469963" r:id="rId57"/>
    <p:sldId id="2147469902" r:id="rId58"/>
    <p:sldId id="2134805398" r:id="rId59"/>
    <p:sldId id="2147469900" r:id="rId60"/>
    <p:sldId id="2147469903" r:id="rId61"/>
    <p:sldId id="2147469925" r:id="rId62"/>
    <p:sldId id="2134805392" r:id="rId63"/>
    <p:sldId id="2147470021" r:id="rId64"/>
    <p:sldId id="2147470022" r:id="rId65"/>
    <p:sldId id="2980" r:id="rId66"/>
    <p:sldId id="8747" r:id="rId67"/>
    <p:sldId id="8748" r:id="rId68"/>
    <p:sldId id="2147469972" r:id="rId69"/>
    <p:sldId id="2134805340" r:id="rId70"/>
    <p:sldId id="2147470023" r:id="rId71"/>
    <p:sldId id="2147470025" r:id="rId72"/>
    <p:sldId id="2147470026" r:id="rId73"/>
    <p:sldId id="2147469898" r:id="rId74"/>
    <p:sldId id="2134805387" r:id="rId75"/>
    <p:sldId id="2134805380" r:id="rId76"/>
    <p:sldId id="2147469968" r:id="rId77"/>
    <p:sldId id="2147469975" r:id="rId78"/>
    <p:sldId id="2147469969" r:id="rId79"/>
    <p:sldId id="2147469979" r:id="rId80"/>
    <p:sldId id="2147469983" r:id="rId81"/>
    <p:sldId id="2147469984" r:id="rId82"/>
    <p:sldId id="2147469985" r:id="rId83"/>
    <p:sldId id="2147469988" r:id="rId84"/>
    <p:sldId id="2147469986" r:id="rId85"/>
    <p:sldId id="2147469987" r:id="rId86"/>
    <p:sldId id="2147469990" r:id="rId87"/>
    <p:sldId id="2147469991" r:id="rId88"/>
    <p:sldId id="2147470027" r:id="rId89"/>
    <p:sldId id="2147469982" r:id="rId90"/>
    <p:sldId id="2147470034" r:id="rId91"/>
    <p:sldId id="2147470036" r:id="rId92"/>
    <p:sldId id="2147470035" r:id="rId93"/>
    <p:sldId id="2147469924" r:id="rId94"/>
    <p:sldId id="2357" r:id="rId95"/>
    <p:sldId id="2358" r:id="rId96"/>
    <p:sldId id="376" r:id="rId97"/>
    <p:sldId id="2147469980" r:id="rId98"/>
    <p:sldId id="2147469961" r:id="rId99"/>
    <p:sldId id="2147469962" r:id="rId100"/>
    <p:sldId id="2147469928" r:id="rId101"/>
    <p:sldId id="2147469929" r:id="rId102"/>
    <p:sldId id="2134805371" r:id="rId103"/>
    <p:sldId id="2147469933" r:id="rId104"/>
    <p:sldId id="2147469935" r:id="rId105"/>
    <p:sldId id="2147469938" r:id="rId106"/>
    <p:sldId id="2147469926" r:id="rId107"/>
    <p:sldId id="2134805321" r:id="rId108"/>
    <p:sldId id="2147469939" r:id="rId109"/>
    <p:sldId id="2147469940" r:id="rId110"/>
    <p:sldId id="2147469941" r:id="rId111"/>
    <p:sldId id="2147469942" r:id="rId112"/>
    <p:sldId id="2147469943" r:id="rId113"/>
    <p:sldId id="2147469978" r:id="rId114"/>
    <p:sldId id="2147469989" r:id="rId115"/>
    <p:sldId id="2147469977" r:id="rId116"/>
    <p:sldId id="2147469904" r:id="rId117"/>
    <p:sldId id="2147470033" r:id="rId118"/>
    <p:sldId id="2147469957" r:id="rId119"/>
    <p:sldId id="2147469956" r:id="rId120"/>
    <p:sldId id="2147469958" r:id="rId121"/>
    <p:sldId id="2147470004" r:id="rId122"/>
    <p:sldId id="2147470005" r:id="rId123"/>
    <p:sldId id="2147470007" r:id="rId124"/>
    <p:sldId id="2147470008" r:id="rId125"/>
    <p:sldId id="2147470009" r:id="rId126"/>
    <p:sldId id="2147470010" r:id="rId127"/>
    <p:sldId id="2147470011" r:id="rId128"/>
    <p:sldId id="2147470012" r:id="rId129"/>
    <p:sldId id="2147470013" r:id="rId130"/>
    <p:sldId id="2134805471" r:id="rId131"/>
    <p:sldId id="2147470006" r:id="rId132"/>
    <p:sldId id="2147470015" r:id="rId133"/>
    <p:sldId id="2134805407" r:id="rId134"/>
    <p:sldId id="2134805404" r:id="rId135"/>
    <p:sldId id="2134805408" r:id="rId136"/>
    <p:sldId id="2134805470" r:id="rId137"/>
    <p:sldId id="2134805493" r:id="rId138"/>
    <p:sldId id="2147469998" r:id="rId139"/>
    <p:sldId id="2134805427" r:id="rId140"/>
    <p:sldId id="2134805428" r:id="rId141"/>
    <p:sldId id="2134805429" r:id="rId142"/>
    <p:sldId id="2147470002" r:id="rId143"/>
    <p:sldId id="2134805500" r:id="rId144"/>
    <p:sldId id="2134805501" r:id="rId145"/>
    <p:sldId id="2134805440" r:id="rId146"/>
    <p:sldId id="2134805439" r:id="rId147"/>
    <p:sldId id="2134805441" r:id="rId148"/>
    <p:sldId id="2134805442" r:id="rId149"/>
    <p:sldId id="2134805434" r:id="rId150"/>
    <p:sldId id="2134805445" r:id="rId151"/>
    <p:sldId id="2134805473" r:id="rId152"/>
    <p:sldId id="2134805475" r:id="rId153"/>
    <p:sldId id="2134805477" r:id="rId154"/>
    <p:sldId id="2134805436" r:id="rId155"/>
    <p:sldId id="2134805478" r:id="rId156"/>
    <p:sldId id="2134805479" r:id="rId157"/>
    <p:sldId id="2134805438" r:id="rId158"/>
    <p:sldId id="2134805481" r:id="rId159"/>
    <p:sldId id="2134805455" r:id="rId160"/>
    <p:sldId id="2134805485" r:id="rId161"/>
    <p:sldId id="2134805486" r:id="rId162"/>
    <p:sldId id="2134805487" r:id="rId163"/>
    <p:sldId id="2134805488" r:id="rId164"/>
    <p:sldId id="2134805457" r:id="rId165"/>
    <p:sldId id="2134805458" r:id="rId166"/>
    <p:sldId id="2147470016" r:id="rId167"/>
    <p:sldId id="2147470017" r:id="rId168"/>
    <p:sldId id="2134805454" r:id="rId169"/>
    <p:sldId id="2147469945" r:id="rId170"/>
    <p:sldId id="2147469947" r:id="rId171"/>
    <p:sldId id="8706" r:id="rId172"/>
    <p:sldId id="8685" r:id="rId173"/>
    <p:sldId id="8689" r:id="rId174"/>
    <p:sldId id="8692" r:id="rId175"/>
    <p:sldId id="8693" r:id="rId176"/>
    <p:sldId id="8686" r:id="rId177"/>
    <p:sldId id="8694" r:id="rId178"/>
    <p:sldId id="8710" r:id="rId179"/>
    <p:sldId id="2134805393" r:id="rId180"/>
    <p:sldId id="8696" r:id="rId181"/>
    <p:sldId id="2147469948" r:id="rId182"/>
    <p:sldId id="2134805400" r:id="rId183"/>
    <p:sldId id="8697" r:id="rId184"/>
    <p:sldId id="10056" r:id="rId185"/>
    <p:sldId id="10074" r:id="rId186"/>
    <p:sldId id="2134805394" r:id="rId187"/>
    <p:sldId id="10057" r:id="rId188"/>
    <p:sldId id="10060" r:id="rId189"/>
    <p:sldId id="2147469949" r:id="rId190"/>
    <p:sldId id="2147469950" r:id="rId191"/>
    <p:sldId id="10014" r:id="rId192"/>
    <p:sldId id="10073" r:id="rId193"/>
    <p:sldId id="2147469951" r:id="rId194"/>
    <p:sldId id="8688" r:id="rId195"/>
    <p:sldId id="2134805396" r:id="rId196"/>
    <p:sldId id="2147470003" r:id="rId197"/>
    <p:sldId id="2147469895" r:id="rId198"/>
    <p:sldId id="2147470014" r:id="rId199"/>
    <p:sldId id="2134805414" r:id="rId200"/>
    <p:sldId id="2134805415" r:id="rId201"/>
    <p:sldId id="2134805419" r:id="rId202"/>
    <p:sldId id="2134805416" r:id="rId203"/>
    <p:sldId id="2134805417" r:id="rId204"/>
    <p:sldId id="2134805418" r:id="rId205"/>
    <p:sldId id="2134805420" r:id="rId206"/>
    <p:sldId id="2134805421" r:id="rId207"/>
    <p:sldId id="2147469999" r:id="rId208"/>
    <p:sldId id="2134805496" r:id="rId209"/>
    <p:sldId id="2134805497" r:id="rId210"/>
    <p:sldId id="2134805498" r:id="rId211"/>
    <p:sldId id="2134805499" r:id="rId212"/>
    <p:sldId id="2134805495" r:id="rId213"/>
    <p:sldId id="2147470000" r:id="rId214"/>
    <p:sldId id="2147470001" r:id="rId215"/>
    <p:sldId id="2134805437" r:id="rId216"/>
    <p:sldId id="2134805431" r:id="rId217"/>
    <p:sldId id="2134805482" r:id="rId218"/>
    <p:sldId id="2134805483" r:id="rId219"/>
    <p:sldId id="2134805484" r:id="rId22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34805319"/>
            <p14:sldId id="361"/>
            <p14:sldId id="565"/>
          </p14:sldIdLst>
        </p14:section>
        <p14:section name="Agenda" id="{EC196F7E-C66C-4E6D-A529-F29F08460426}">
          <p14:sldIdLst>
            <p14:sldId id="331"/>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19"/>
          </p14:sldIdLst>
        </p14:section>
        <p14:section name="Data preparation" id="{904B9ABC-98F1-4890-9D79-4C16FA581388}">
          <p14:sldIdLst>
            <p14:sldId id="2134805361"/>
            <p14:sldId id="2147470029"/>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69982"/>
            <p14:sldId id="2147470034"/>
            <p14:sldId id="2147470036"/>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 name="Data visualization" id="{341DC7CA-8F44-4A1D-9531-13BBE3EB2D50}">
          <p14:sldIdLst>
            <p14:sldId id="2147469904"/>
            <p14:sldId id="2147470033"/>
            <p14:sldId id="2147469957"/>
            <p14:sldId id="2147469956"/>
            <p14:sldId id="2147469958"/>
            <p14:sldId id="2147470004"/>
            <p14:sldId id="2147470005"/>
            <p14:sldId id="2147470007"/>
            <p14:sldId id="2147470008"/>
            <p14:sldId id="2147470009"/>
            <p14:sldId id="2147470010"/>
            <p14:sldId id="2147470011"/>
            <p14:sldId id="2147470012"/>
            <p14:sldId id="2147470013"/>
            <p14:sldId id="2134805471"/>
            <p14:sldId id="2147470006"/>
            <p14:sldId id="2147470015"/>
            <p14:sldId id="2134805407"/>
            <p14:sldId id="2134805404"/>
            <p14:sldId id="2134805408"/>
            <p14:sldId id="2134805470"/>
            <p14:sldId id="2134805493"/>
            <p14:sldId id="2147469998"/>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5"/>
            <p14:sldId id="2134805485"/>
            <p14:sldId id="2134805486"/>
            <p14:sldId id="2134805487"/>
            <p14:sldId id="2134805488"/>
            <p14:sldId id="2134805457"/>
            <p14:sldId id="2134805458"/>
            <p14:sldId id="2147470016"/>
            <p14:sldId id="2147470017"/>
            <p14:sldId id="2134805454"/>
            <p14:sldId id="214746994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70003"/>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276D41-AFC9-4BEF-B6EE-46680A52C501}" v="280" dt="2022-09-22T15:19:46.4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627" autoAdjust="0"/>
  </p:normalViewPr>
  <p:slideViewPr>
    <p:cSldViewPr snapToGrid="0">
      <p:cViewPr>
        <p:scale>
          <a:sx n="70" d="100"/>
          <a:sy n="70" d="100"/>
        </p:scale>
        <p:origin x="756" y="43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theme" Target="theme/theme1.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openxmlformats.org/officeDocument/2006/relationships/tableStyles" Target="tableStyles.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228" Type="http://schemas.microsoft.com/office/2016/11/relationships/changesInfo" Target="changesInfos/changesInfo1.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229" Type="http://schemas.microsoft.com/office/2015/10/relationships/revisionInfo" Target="revisionInfo.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slide" Target="slides/slide205.xml"/><Relationship Id="rId225"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notesMaster" Target="notesMasters/notesMaster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handoutMaster" Target="handoutMasters/handoutMaster1.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commentAuthors" Target="commentAuthor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presProps" Target="presProps.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 Id="rId3" Type="http://schemas.openxmlformats.org/officeDocument/2006/relationships/customXml" Target="../customXml/item3.xml"/><Relationship Id="rId214" Type="http://schemas.openxmlformats.org/officeDocument/2006/relationships/slide" Target="slides/slide19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image" Target="../media/image154.svg"/><Relationship Id="rId1" Type="http://schemas.openxmlformats.org/officeDocument/2006/relationships/image" Target="../media/image153.png"/><Relationship Id="rId6" Type="http://schemas.openxmlformats.org/officeDocument/2006/relationships/image" Target="../media/image158.svg"/><Relationship Id="rId5" Type="http://schemas.openxmlformats.org/officeDocument/2006/relationships/image" Target="../media/image157.png"/><Relationship Id="rId4" Type="http://schemas.openxmlformats.org/officeDocument/2006/relationships/image" Target="../media/image156.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image" Target="../media/image154.svg"/><Relationship Id="rId1" Type="http://schemas.openxmlformats.org/officeDocument/2006/relationships/image" Target="../media/image153.png"/><Relationship Id="rId6" Type="http://schemas.openxmlformats.org/officeDocument/2006/relationships/image" Target="../media/image158.svg"/><Relationship Id="rId5" Type="http://schemas.openxmlformats.org/officeDocument/2006/relationships/image" Target="../media/image157.png"/><Relationship Id="rId4" Type="http://schemas.openxmlformats.org/officeDocument/2006/relationships/image" Target="../media/image15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1/2022 7:4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1/2022 7:4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12:0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93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9: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8:0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1/2022 12:30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1/2022 12:51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1: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38948870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2144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1: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2/2022 10: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2/2022 10: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10: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9801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10: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3386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10: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7991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22 9: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eatest value of a picture is when it forces us to notice what we never expected to see.” – John W. Tukey</a:t>
            </a:r>
          </a:p>
          <a:p>
            <a:endParaRPr lang="en-US" dirty="0"/>
          </a:p>
          <a:p>
            <a:r>
              <a:rPr lang="en-US" dirty="0"/>
              <a:t>In Tukey’s book – Exploratory Data Analysis – he mentioned to not just rely on numerical summaries of your data. Always try to visualize your data! If you don’t, you will miss features of that data and it will go unnotic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8</a:t>
            </a:fld>
            <a:endParaRPr lang="en-US"/>
          </a:p>
        </p:txBody>
      </p:sp>
    </p:spTree>
    <p:extLst>
      <p:ext uri="{BB962C8B-B14F-4D97-AF65-F5344CB8AC3E}">
        <p14:creationId xmlns:p14="http://schemas.microsoft.com/office/powerpoint/2010/main" val="710087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forms.office.com/r/XbVddhYM6E</a:t>
            </a:r>
          </a:p>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7023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e Charts are good for parts of a whole – but not comparison. So, the real answer is – it depends!</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146869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87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different visuals for location. It depends on what you are trying to communicate – parts of a whole (United States is the majority), mapping, bar chart, …</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38440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26403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8643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57</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8</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59</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60</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61</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62</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64</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5</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6</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7</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8</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2</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77</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78</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79</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80</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21/2022 7: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5</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22 7: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5.xml"/><Relationship Id="rId4" Type="http://schemas.openxmlformats.org/officeDocument/2006/relationships/slide" Target="../slides/slide24.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5.xml"/><Relationship Id="rId4" Type="http://schemas.openxmlformats.org/officeDocument/2006/relationships/slide" Target="../slides/slide24.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54.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4.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4.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7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3.xml"/><Relationship Id="rId4" Type="http://schemas.openxmlformats.org/officeDocument/2006/relationships/slide" Target="../slides/slide24.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21/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21/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9/21/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9/21/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21/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21/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9/21/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9/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9/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9/2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9/2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9/2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9/2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2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2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2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9/21/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994"/>
          </a:xfrm>
          <a:noFill/>
        </p:spPr>
        <p:txBody>
          <a:bodyPr rtlCol="0"/>
          <a:lstStyle>
            <a:lvl1pPr marL="0" indent="0" algn="ctr" defTabSz="-18865642" rtl="0" eaLnBrk="1" fontAlgn="base" hangingPunct="1">
              <a:spcBef>
                <a:spcPct val="0"/>
              </a:spcBef>
              <a:spcAft>
                <a:spcPct val="0"/>
              </a:spcAft>
              <a:defRPr lang="en-US" sz="3808"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21745" y="1398905"/>
            <a:ext cx="11191399" cy="1925399"/>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6"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934949"/>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 id="2147485327"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21/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www.microsoft.com/store/workshops-training-and-events/professionals#topic=413870014"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19" Type="http://schemas.openxmlformats.org/officeDocument/2006/relationships/hyperlink" Target="https://aka.ms/pbiguidance"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3.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6.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61.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104.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5.xml"/><Relationship Id="rId4" Type="http://schemas.openxmlformats.org/officeDocument/2006/relationships/image" Target="../media/image165.png"/></Relationships>
</file>

<file path=ppt/slides/_rels/slide10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2.xml"/><Relationship Id="rId1" Type="http://schemas.openxmlformats.org/officeDocument/2006/relationships/slideLayout" Target="../slideLayouts/slideLayout5.xml"/><Relationship Id="rId4" Type="http://schemas.openxmlformats.org/officeDocument/2006/relationships/hyperlink" Target="https://www.nytimes.com/interactive/projects/london2012/results"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91.svg"/><Relationship Id="rId3" Type="http://schemas.openxmlformats.org/officeDocument/2006/relationships/image" Target="../media/image83.png"/><Relationship Id="rId7" Type="http://schemas.openxmlformats.org/officeDocument/2006/relationships/image" Target="../media/image86.wmf"/><Relationship Id="rId12"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s>
</file>

<file path=ppt/slides/_rels/slide11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64.xml"/><Relationship Id="rId1" Type="http://schemas.openxmlformats.org/officeDocument/2006/relationships/slideLayout" Target="../slideLayouts/slideLayout75.xml"/><Relationship Id="rId4" Type="http://schemas.openxmlformats.org/officeDocument/2006/relationships/image" Target="../media/image171.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3" Type="http://schemas.microsoft.com/office/2011/relationships/webextension" Target="../webextensions/webextension2.xml"/><Relationship Id="rId2" Type="http://schemas.openxmlformats.org/officeDocument/2006/relationships/notesSlide" Target="../notesSlides/notesSlide66.xml"/><Relationship Id="rId1" Type="http://schemas.openxmlformats.org/officeDocument/2006/relationships/slideLayout" Target="../slideLayouts/slideLayout75.xml"/><Relationship Id="rId4" Type="http://schemas.openxmlformats.org/officeDocument/2006/relationships/image" Target="../media/image172.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8.xml"/><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69.xml"/><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9.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2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30.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2" Type="http://schemas.openxmlformats.org/officeDocument/2006/relationships/image" Target="../media/image183.gif"/><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0.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5.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1.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6.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50.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6.png"/><Relationship Id="rId1" Type="http://schemas.openxmlformats.org/officeDocument/2006/relationships/slideLayout" Target="../slideLayouts/slideLayout75.xml"/><Relationship Id="rId4" Type="http://schemas.openxmlformats.org/officeDocument/2006/relationships/image" Target="../media/image197.pn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2" Type="http://schemas.openxmlformats.org/officeDocument/2006/relationships/image" Target="../media/image198.gif"/><Relationship Id="rId1" Type="http://schemas.openxmlformats.org/officeDocument/2006/relationships/slideLayout" Target="../slideLayouts/slideLayout75.xml"/></Relationships>
</file>

<file path=ppt/slides/_rels/slide153.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5.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7.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70.xml"/><Relationship Id="rId1" Type="http://schemas.openxmlformats.org/officeDocument/2006/relationships/slideLayout" Target="../slideLayouts/slideLayout53.xml"/></Relationships>
</file>

<file path=ppt/slides/_rels/slide158.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71.xml"/><Relationship Id="rId1" Type="http://schemas.openxmlformats.org/officeDocument/2006/relationships/slideLayout" Target="../slideLayouts/slideLayout79.xml"/><Relationship Id="rId4" Type="http://schemas.openxmlformats.org/officeDocument/2006/relationships/image" Target="../media/image202.png"/></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3.jpeg"/></Relationships>
</file>

<file path=ppt/slides/_rels/slide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4.jpeg"/></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5.jpeg"/></Relationships>
</file>

<file path=ppt/slides/_rels/slide162.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75.xml"/><Relationship Id="rId1" Type="http://schemas.openxmlformats.org/officeDocument/2006/relationships/slideLayout" Target="../slideLayouts/slideLayout79.xml"/><Relationship Id="rId4" Type="http://schemas.openxmlformats.org/officeDocument/2006/relationships/image" Target="../media/image202.png"/></Relationships>
</file>

<file path=ppt/slides/_rels/slide1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6.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64.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77.xml"/><Relationship Id="rId1" Type="http://schemas.openxmlformats.org/officeDocument/2006/relationships/slideLayout" Target="../slideLayouts/slideLayout53.xml"/></Relationships>
</file>

<file path=ppt/slides/_rels/slide165.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78.xml"/><Relationship Id="rId1" Type="http://schemas.openxmlformats.org/officeDocument/2006/relationships/slideLayout" Target="../slideLayouts/slideLayout53.xml"/></Relationships>
</file>

<file path=ppt/slides/_rels/slide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9.xml.rels><?xml version="1.0" encoding="UTF-8" standalone="yes"?>
<Relationships xmlns="http://schemas.openxmlformats.org/package/2006/relationships"><Relationship Id="rId3" Type="http://schemas.openxmlformats.org/officeDocument/2006/relationships/image" Target="../media/image206.emf"/><Relationship Id="rId2" Type="http://schemas.openxmlformats.org/officeDocument/2006/relationships/notesSlide" Target="../notesSlides/notesSlide82.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1.svg"/><Relationship Id="rId2" Type="http://schemas.openxmlformats.org/officeDocument/2006/relationships/notesSlide" Target="../notesSlides/notesSlide13.xml"/><Relationship Id="rId1" Type="http://schemas.openxmlformats.org/officeDocument/2006/relationships/slideLayout" Target="../slideLayouts/slideLayout74.xml"/><Relationship Id="rId6" Type="http://schemas.openxmlformats.org/officeDocument/2006/relationships/image" Target="../media/image96.png"/><Relationship Id="rId11" Type="http://schemas.openxmlformats.org/officeDocument/2006/relationships/image" Target="../media/image100.png"/><Relationship Id="rId5" Type="http://schemas.openxmlformats.org/officeDocument/2006/relationships/image" Target="../media/image95.png"/><Relationship Id="rId10" Type="http://schemas.microsoft.com/office/2007/relationships/hdphoto" Target="../media/hdphoto1.wdp"/><Relationship Id="rId4" Type="http://schemas.openxmlformats.org/officeDocument/2006/relationships/image" Target="../media/image94.png"/><Relationship Id="rId9" Type="http://schemas.openxmlformats.org/officeDocument/2006/relationships/image" Target="../media/image99.png"/></Relationships>
</file>

<file path=ppt/slides/_rels/slide17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71.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72.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83.xml"/><Relationship Id="rId1" Type="http://schemas.openxmlformats.org/officeDocument/2006/relationships/slideLayout" Target="../slideLayouts/slideLayout53.xml"/></Relationships>
</file>

<file path=ppt/slides/_rels/slide173.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image" Target="../media/image207.jpeg"/><Relationship Id="rId1" Type="http://schemas.openxmlformats.org/officeDocument/2006/relationships/slideLayout" Target="../slideLayouts/slideLayout57.xml"/></Relationships>
</file>

<file path=ppt/slides/_rels/slide17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57.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6.xml.rels><?xml version="1.0" encoding="UTF-8" standalone="yes"?>
<Relationships xmlns="http://schemas.openxmlformats.org/package/2006/relationships"><Relationship Id="rId2" Type="http://schemas.openxmlformats.org/officeDocument/2006/relationships/image" Target="../media/image211.jpeg"/><Relationship Id="rId1" Type="http://schemas.openxmlformats.org/officeDocument/2006/relationships/slideLayout" Target="../slideLayouts/slideLayout55.xml"/></Relationships>
</file>

<file path=ppt/slides/_rels/slide177.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84.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5.xml"/><Relationship Id="rId1" Type="http://schemas.openxmlformats.org/officeDocument/2006/relationships/slideLayout" Target="../slideLayouts/slideLayout57.xml"/></Relationships>
</file>

<file path=ppt/slides/_rels/slide179.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86.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8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87.xml"/><Relationship Id="rId1" Type="http://schemas.openxmlformats.org/officeDocument/2006/relationships/slideLayout" Target="../slideLayouts/slideLayout74.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2.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183.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88.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15.png"/></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89.xml"/><Relationship Id="rId1" Type="http://schemas.openxmlformats.org/officeDocument/2006/relationships/slideLayout" Target="../slideLayouts/slideLayout75.xml"/><Relationship Id="rId4" Type="http://schemas.openxmlformats.org/officeDocument/2006/relationships/image" Target="../media/image217.png"/></Relationships>
</file>

<file path=ppt/slides/_rels/slide186.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87.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88.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96.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97.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98.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199.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75.xml"/></Relationships>
</file>

<file path=ppt/slides/_rels/slide201.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75.xml"/></Relationships>
</file>

<file path=ppt/slides/_rels/slide202.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75.xml"/></Relationships>
</file>

<file path=ppt/slides/_rels/slide203.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75.xml"/></Relationships>
</file>

<file path=ppt/slides/_rels/slide204.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75.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3" Type="http://schemas.openxmlformats.org/officeDocument/2006/relationships/image" Target="../media/image102.gif"/><Relationship Id="rId2" Type="http://schemas.openxmlformats.org/officeDocument/2006/relationships/notesSlide" Target="../notesSlides/notesSlide19.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74.xml"/><Relationship Id="rId5" Type="http://schemas.openxmlformats.org/officeDocument/2006/relationships/image" Target="../media/image104.png"/><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106.sv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slideLayout" Target="../slideLayouts/slideLayout75.xml"/><Relationship Id="rId6" Type="http://schemas.openxmlformats.org/officeDocument/2006/relationships/image" Target="../media/image109.png"/><Relationship Id="rId5" Type="http://schemas.openxmlformats.org/officeDocument/2006/relationships/image" Target="../media/image108.svg"/><Relationship Id="rId4" Type="http://schemas.openxmlformats.org/officeDocument/2006/relationships/image" Target="../media/image107.png"/></Relationships>
</file>

<file path=ppt/slides/_rels/slide27.xml.rels><?xml version="1.0" encoding="UTF-8" standalone="yes"?>
<Relationships xmlns="http://schemas.openxmlformats.org/package/2006/relationships"><Relationship Id="rId3" Type="http://schemas.openxmlformats.org/officeDocument/2006/relationships/image" Target="../media/image111.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12.png"/></Relationships>
</file>

<file path=ppt/slides/_rels/slide2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2.xml"/><Relationship Id="rId1" Type="http://schemas.openxmlformats.org/officeDocument/2006/relationships/slideLayout" Target="../slideLayouts/slideLayout74.xml"/><Relationship Id="rId5" Type="http://schemas.openxmlformats.org/officeDocument/2006/relationships/image" Target="../media/image104.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08.svg"/><Relationship Id="rId3" Type="http://schemas.openxmlformats.org/officeDocument/2006/relationships/image" Target="../media/image106.svg"/><Relationship Id="rId7" Type="http://schemas.openxmlformats.org/officeDocument/2006/relationships/image" Target="../media/image115.svg"/><Relationship Id="rId12" Type="http://schemas.openxmlformats.org/officeDocument/2006/relationships/image" Target="../media/image107.png"/><Relationship Id="rId2" Type="http://schemas.openxmlformats.org/officeDocument/2006/relationships/image" Target="../media/image105.png"/><Relationship Id="rId1" Type="http://schemas.openxmlformats.org/officeDocument/2006/relationships/slideLayout" Target="../slideLayouts/slideLayout75.xml"/><Relationship Id="rId6" Type="http://schemas.openxmlformats.org/officeDocument/2006/relationships/image" Target="../media/image114.png"/><Relationship Id="rId11" Type="http://schemas.openxmlformats.org/officeDocument/2006/relationships/image" Target="../media/image119.svg"/><Relationship Id="rId5" Type="http://schemas.openxmlformats.org/officeDocument/2006/relationships/image" Target="../media/image113.png"/><Relationship Id="rId10" Type="http://schemas.openxmlformats.org/officeDocument/2006/relationships/image" Target="../media/image118.png"/><Relationship Id="rId4" Type="http://schemas.openxmlformats.org/officeDocument/2006/relationships/image" Target="../media/image109.png"/><Relationship Id="rId9" Type="http://schemas.openxmlformats.org/officeDocument/2006/relationships/image" Target="../media/image117.svg"/></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0.png"/><Relationship Id="rId1" Type="http://schemas.openxmlformats.org/officeDocument/2006/relationships/slideLayout" Target="../slideLayouts/slideLayout74.xml"/><Relationship Id="rId4" Type="http://schemas.openxmlformats.org/officeDocument/2006/relationships/image" Target="../media/image121.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6.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6.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4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0.xml"/><Relationship Id="rId1" Type="http://schemas.openxmlformats.org/officeDocument/2006/relationships/slideLayout" Target="../slideLayouts/slideLayout7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3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2.xml"/></Relationships>
</file>

<file path=ppt/slides/_rels/slide4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sv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12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7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39.png"/><Relationship Id="rId18" Type="http://schemas.openxmlformats.org/officeDocument/2006/relationships/image" Target="../media/image144.svg"/><Relationship Id="rId3" Type="http://schemas.openxmlformats.org/officeDocument/2006/relationships/image" Target="../media/image124.pn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3.png"/><Relationship Id="rId2" Type="http://schemas.openxmlformats.org/officeDocument/2006/relationships/notesSlide" Target="../notesSlides/notesSlide50.xml"/><Relationship Id="rId16" Type="http://schemas.openxmlformats.org/officeDocument/2006/relationships/image" Target="../media/image142.svg"/><Relationship Id="rId1" Type="http://schemas.openxmlformats.org/officeDocument/2006/relationships/slideLayout" Target="../slideLayouts/slideLayout9.xml"/><Relationship Id="rId6" Type="http://schemas.openxmlformats.org/officeDocument/2006/relationships/image" Target="../media/image132.sv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png"/><Relationship Id="rId10" Type="http://schemas.openxmlformats.org/officeDocument/2006/relationships/image" Target="../media/image136.svg"/><Relationship Id="rId4" Type="http://schemas.openxmlformats.org/officeDocument/2006/relationships/image" Target="../media/image125.svg"/><Relationship Id="rId9" Type="http://schemas.openxmlformats.org/officeDocument/2006/relationships/image" Target="../media/image135.png"/><Relationship Id="rId14" Type="http://schemas.openxmlformats.org/officeDocument/2006/relationships/image" Target="../media/image140.sv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4.xml"/></Relationships>
</file>

<file path=ppt/slides/_rels/slide83.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45.png"/><Relationship Id="rId1" Type="http://schemas.openxmlformats.org/officeDocument/2006/relationships/slideLayout" Target="../slideLayouts/slideLayout74.xml"/></Relationships>
</file>

<file path=ppt/slides/_rels/slide8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4.xml"/><Relationship Id="rId1" Type="http://schemas.openxmlformats.org/officeDocument/2006/relationships/slideLayout" Target="../slideLayouts/slideLayout74.xml"/><Relationship Id="rId4" Type="http://schemas.openxmlformats.org/officeDocument/2006/relationships/image" Target="../media/image147.png"/></Relationships>
</file>

<file path=ppt/slides/_rels/slide8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5.xml"/><Relationship Id="rId1" Type="http://schemas.openxmlformats.org/officeDocument/2006/relationships/slideLayout" Target="../slideLayouts/slideLayout7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52.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9.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Power Platform Conference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Microsoft Stores Training</a:t>
            </a:r>
            <a:endParaRPr lang="en-US" sz="2000" dirty="0"/>
          </a:p>
          <a:p>
            <a:pPr algn="l"/>
            <a:r>
              <a:rPr lang="en-US" sz="2000" dirty="0">
                <a:hlinkClick r:id="rId19"/>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Visual Encoding</a:t>
            </a:r>
          </a:p>
        </p:txBody>
      </p:sp>
      <p:sp>
        <p:nvSpPr>
          <p:cNvPr id="4" name="TextBox 3">
            <a:extLst>
              <a:ext uri="{FF2B5EF4-FFF2-40B4-BE49-F238E27FC236}">
                <a16:creationId xmlns:a16="http://schemas.microsoft.com/office/drawing/2014/main" id="{D3245058-7515-853D-4580-09A59143DED8}"/>
              </a:ext>
            </a:extLst>
          </p:cNvPr>
          <p:cNvSpPr txBox="1"/>
          <p:nvPr/>
        </p:nvSpPr>
        <p:spPr>
          <a:xfrm>
            <a:off x="599982" y="1404257"/>
            <a:ext cx="10393486" cy="307777"/>
          </a:xfrm>
          <a:prstGeom prst="rect">
            <a:avLst/>
          </a:prstGeom>
          <a:noFill/>
        </p:spPr>
        <p:txBody>
          <a:bodyPr wrap="none" lIns="0" tIns="0" rIns="0" bIns="0" rtlCol="0">
            <a:spAutoFit/>
          </a:bodyPr>
          <a:lstStyle/>
          <a:p>
            <a:pPr algn="l"/>
            <a:r>
              <a:rPr lang="en-US" sz="2000" dirty="0"/>
              <a:t>For visualizations, it’s the idea of mapping data onto attributes of an object. Typically shapes.</a:t>
            </a:r>
          </a:p>
        </p:txBody>
      </p:sp>
      <p:sp>
        <p:nvSpPr>
          <p:cNvPr id="5" name="TextBox 4">
            <a:extLst>
              <a:ext uri="{FF2B5EF4-FFF2-40B4-BE49-F238E27FC236}">
                <a16:creationId xmlns:a16="http://schemas.microsoft.com/office/drawing/2014/main" id="{A952AC9B-F0D3-E693-7054-6F0A32C0BA58}"/>
              </a:ext>
            </a:extLst>
          </p:cNvPr>
          <p:cNvSpPr txBox="1"/>
          <p:nvPr/>
        </p:nvSpPr>
        <p:spPr>
          <a:xfrm>
            <a:off x="2454874" y="2084962"/>
            <a:ext cx="479298" cy="307777"/>
          </a:xfrm>
          <a:prstGeom prst="rect">
            <a:avLst/>
          </a:prstGeom>
          <a:noFill/>
        </p:spPr>
        <p:txBody>
          <a:bodyPr wrap="none" lIns="0" tIns="0" rIns="0" bIns="0" rtlCol="0">
            <a:spAutoFit/>
          </a:bodyPr>
          <a:lstStyle/>
          <a:p>
            <a:pPr algn="l"/>
            <a:r>
              <a:rPr lang="en-US" sz="2000" b="1" dirty="0"/>
              <a:t>Size</a:t>
            </a:r>
          </a:p>
        </p:txBody>
      </p:sp>
      <p:sp>
        <p:nvSpPr>
          <p:cNvPr id="6" name="TextBox 5">
            <a:extLst>
              <a:ext uri="{FF2B5EF4-FFF2-40B4-BE49-F238E27FC236}">
                <a16:creationId xmlns:a16="http://schemas.microsoft.com/office/drawing/2014/main" id="{5CFFAE8C-CC5D-3C37-59F7-31EDDFE76B2F}"/>
              </a:ext>
            </a:extLst>
          </p:cNvPr>
          <p:cNvSpPr txBox="1"/>
          <p:nvPr/>
        </p:nvSpPr>
        <p:spPr>
          <a:xfrm>
            <a:off x="2313073" y="4071909"/>
            <a:ext cx="762901" cy="307777"/>
          </a:xfrm>
          <a:prstGeom prst="rect">
            <a:avLst/>
          </a:prstGeom>
          <a:noFill/>
        </p:spPr>
        <p:txBody>
          <a:bodyPr wrap="none" lIns="0" tIns="0" rIns="0" bIns="0" rtlCol="0">
            <a:spAutoFit/>
          </a:bodyPr>
          <a:lstStyle/>
          <a:p>
            <a:pPr algn="l"/>
            <a:r>
              <a:rPr lang="en-US" sz="2000" b="1" dirty="0"/>
              <a:t>Colors</a:t>
            </a:r>
          </a:p>
        </p:txBody>
      </p:sp>
      <p:sp>
        <p:nvSpPr>
          <p:cNvPr id="7" name="TextBox 6">
            <a:extLst>
              <a:ext uri="{FF2B5EF4-FFF2-40B4-BE49-F238E27FC236}">
                <a16:creationId xmlns:a16="http://schemas.microsoft.com/office/drawing/2014/main" id="{2B05F6F9-1C9A-86B4-F571-F54DD9ABD17C}"/>
              </a:ext>
            </a:extLst>
          </p:cNvPr>
          <p:cNvSpPr txBox="1"/>
          <p:nvPr/>
        </p:nvSpPr>
        <p:spPr>
          <a:xfrm>
            <a:off x="2414510" y="5673143"/>
            <a:ext cx="560025" cy="307777"/>
          </a:xfrm>
          <a:prstGeom prst="rect">
            <a:avLst/>
          </a:prstGeom>
          <a:noFill/>
        </p:spPr>
        <p:txBody>
          <a:bodyPr wrap="none" lIns="0" tIns="0" rIns="0" bIns="0" rtlCol="0">
            <a:spAutoFit/>
          </a:bodyPr>
          <a:lstStyle/>
          <a:p>
            <a:pPr algn="l"/>
            <a:r>
              <a:rPr lang="en-US" sz="2000" b="1" dirty="0"/>
              <a:t>Area</a:t>
            </a:r>
          </a:p>
        </p:txBody>
      </p:sp>
      <p:pic>
        <p:nvPicPr>
          <p:cNvPr id="9" name="Picture 8">
            <a:extLst>
              <a:ext uri="{FF2B5EF4-FFF2-40B4-BE49-F238E27FC236}">
                <a16:creationId xmlns:a16="http://schemas.microsoft.com/office/drawing/2014/main" id="{FA672D60-10ED-E068-FC12-E8A0CFD52B85}"/>
              </a:ext>
            </a:extLst>
          </p:cNvPr>
          <p:cNvPicPr>
            <a:picLocks noChangeAspect="1"/>
          </p:cNvPicPr>
          <p:nvPr/>
        </p:nvPicPr>
        <p:blipFill>
          <a:blip r:embed="rId2"/>
          <a:stretch>
            <a:fillRect/>
          </a:stretch>
        </p:blipFill>
        <p:spPr>
          <a:xfrm>
            <a:off x="4385620" y="3699642"/>
            <a:ext cx="6047619" cy="1380952"/>
          </a:xfrm>
          <a:prstGeom prst="rect">
            <a:avLst/>
          </a:prstGeom>
        </p:spPr>
      </p:pic>
      <p:pic>
        <p:nvPicPr>
          <p:cNvPr id="11" name="Picture 10">
            <a:extLst>
              <a:ext uri="{FF2B5EF4-FFF2-40B4-BE49-F238E27FC236}">
                <a16:creationId xmlns:a16="http://schemas.microsoft.com/office/drawing/2014/main" id="{F819E8F6-4F55-21F7-9B84-30A385EB97C6}"/>
              </a:ext>
            </a:extLst>
          </p:cNvPr>
          <p:cNvPicPr>
            <a:picLocks noChangeAspect="1"/>
          </p:cNvPicPr>
          <p:nvPr/>
        </p:nvPicPr>
        <p:blipFill>
          <a:blip r:embed="rId3"/>
          <a:stretch>
            <a:fillRect/>
          </a:stretch>
        </p:blipFill>
        <p:spPr>
          <a:xfrm>
            <a:off x="5558205" y="1906789"/>
            <a:ext cx="3702447" cy="1754083"/>
          </a:xfrm>
          <a:prstGeom prst="rect">
            <a:avLst/>
          </a:prstGeom>
        </p:spPr>
      </p:pic>
      <p:pic>
        <p:nvPicPr>
          <p:cNvPr id="13" name="Picture 12">
            <a:extLst>
              <a:ext uri="{FF2B5EF4-FFF2-40B4-BE49-F238E27FC236}">
                <a16:creationId xmlns:a16="http://schemas.microsoft.com/office/drawing/2014/main" id="{3CDB04FD-43DC-1E2E-0D3F-623C001AAD05}"/>
              </a:ext>
            </a:extLst>
          </p:cNvPr>
          <p:cNvPicPr>
            <a:picLocks noChangeAspect="1"/>
          </p:cNvPicPr>
          <p:nvPr/>
        </p:nvPicPr>
        <p:blipFill>
          <a:blip r:embed="rId4"/>
          <a:stretch>
            <a:fillRect/>
          </a:stretch>
        </p:blipFill>
        <p:spPr>
          <a:xfrm>
            <a:off x="5372447" y="5080594"/>
            <a:ext cx="4375711" cy="1635674"/>
          </a:xfrm>
          <a:prstGeom prst="rect">
            <a:avLst/>
          </a:prstGeom>
        </p:spPr>
      </p:pic>
    </p:spTree>
    <p:extLst>
      <p:ext uri="{BB962C8B-B14F-4D97-AF65-F5344CB8AC3E}">
        <p14:creationId xmlns:p14="http://schemas.microsoft.com/office/powerpoint/2010/main" val="411112934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A1DF6C-B8B8-6382-D74D-60B69CE1FD23}"/>
              </a:ext>
            </a:extLst>
          </p:cNvPr>
          <p:cNvPicPr>
            <a:picLocks noChangeAspect="1"/>
          </p:cNvPicPr>
          <p:nvPr/>
        </p:nvPicPr>
        <p:blipFill>
          <a:blip r:embed="rId3"/>
          <a:stretch>
            <a:fillRect/>
          </a:stretch>
        </p:blipFill>
        <p:spPr>
          <a:xfrm>
            <a:off x="-1" y="0"/>
            <a:ext cx="12405275" cy="5829300"/>
          </a:xfrm>
          <a:prstGeom prst="rect">
            <a:avLst/>
          </a:prstGeom>
        </p:spPr>
      </p:pic>
      <p:sp>
        <p:nvSpPr>
          <p:cNvPr id="6" name="TextBox 5">
            <a:extLst>
              <a:ext uri="{FF2B5EF4-FFF2-40B4-BE49-F238E27FC236}">
                <a16:creationId xmlns:a16="http://schemas.microsoft.com/office/drawing/2014/main" id="{B31F7F4A-2181-AF1F-70FD-B5FFC01F50E7}"/>
              </a:ext>
            </a:extLst>
          </p:cNvPr>
          <p:cNvSpPr txBox="1"/>
          <p:nvPr/>
        </p:nvSpPr>
        <p:spPr>
          <a:xfrm>
            <a:off x="4718957" y="6368142"/>
            <a:ext cx="7425302" cy="307777"/>
          </a:xfrm>
          <a:prstGeom prst="rect">
            <a:avLst/>
          </a:prstGeom>
          <a:noFill/>
        </p:spPr>
        <p:txBody>
          <a:bodyPr wrap="none" lIns="0" tIns="0" rIns="0" bIns="0" rtlCol="0">
            <a:spAutoFit/>
          </a:bodyPr>
          <a:lstStyle/>
          <a:p>
            <a:pPr algn="l"/>
            <a:r>
              <a:rPr lang="en-US" sz="2000" dirty="0">
                <a:hlinkClick r:id="rId4"/>
              </a:rPr>
              <a:t>https://www.nytimes.com/interactive/projects/london2012/results</a:t>
            </a:r>
            <a:endParaRPr lang="en-US" sz="2000" dirty="0"/>
          </a:p>
        </p:txBody>
      </p:sp>
    </p:spTree>
    <p:extLst>
      <p:ext uri="{BB962C8B-B14F-4D97-AF65-F5344CB8AC3E}">
        <p14:creationId xmlns:p14="http://schemas.microsoft.com/office/powerpoint/2010/main" val="248321455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830997"/>
          </a:xfrm>
        </p:spPr>
        <p:txBody>
          <a:bodyPr/>
          <a:lstStyle/>
          <a:p>
            <a:pPr marL="0" indent="0" algn="ctr">
              <a:buNone/>
            </a:pPr>
            <a:r>
              <a:rPr lang="en-US" sz="5400" dirty="0"/>
              <a:t>https://aka.ms/mppc-yourthoughts</a:t>
            </a:r>
          </a:p>
        </p:txBody>
      </p:sp>
    </p:spTree>
    <p:extLst>
      <p:ext uri="{BB962C8B-B14F-4D97-AF65-F5344CB8AC3E}">
        <p14:creationId xmlns:p14="http://schemas.microsoft.com/office/powerpoint/2010/main" val="2337724613"/>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3" name="Add-in 2" title="Microsoft Power BI">
                <a:extLst>
                  <a:ext uri="{FF2B5EF4-FFF2-40B4-BE49-F238E27FC236}">
                    <a16:creationId xmlns:a16="http://schemas.microsoft.com/office/drawing/2014/main" id="{B40030B6-F851-E85A-14BD-EB0B4E8218E8}"/>
                  </a:ext>
                </a:extLst>
              </p:cNvPr>
              <p:cNvGraphicFramePr>
                <a:graphicFrameLocks noGrp="1"/>
              </p:cNvGraphicFramePr>
              <p:nvPr>
                <p:extLst>
                  <p:ext uri="{D42A27DB-BD31-4B8C-83A1-F6EECF244321}">
                    <p14:modId xmlns:p14="http://schemas.microsoft.com/office/powerpoint/2010/main" val="2525916281"/>
                  </p:ext>
                </p:extLst>
              </p:nvPr>
            </p:nvGraphicFramePr>
            <p:xfrm>
              <a:off x="0" y="-1"/>
              <a:ext cx="12434888" cy="6994525"/>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3" name="Add-in 2" title="Microsoft Power BI">
                <a:extLst>
                  <a:ext uri="{FF2B5EF4-FFF2-40B4-BE49-F238E27FC236}">
                    <a16:creationId xmlns:a16="http://schemas.microsoft.com/office/drawing/2014/main" id="{B40030B6-F851-E85A-14BD-EB0B4E8218E8}"/>
                  </a:ext>
                </a:extLst>
              </p:cNvPr>
              <p:cNvPicPr>
                <a:picLocks noGrp="1" noRot="1" noChangeAspect="1" noMove="1" noResize="1" noEditPoints="1" noAdjustHandles="1" noChangeArrowheads="1" noChangeShapeType="1"/>
              </p:cNvPicPr>
              <p:nvPr/>
            </p:nvPicPr>
            <p:blipFill>
              <a:blip r:embed="rId4"/>
              <a:stretch>
                <a:fillRect/>
              </a:stretch>
            </p:blipFill>
            <p:spPr>
              <a:xfrm>
                <a:off x="0" y="-1"/>
                <a:ext cx="12434888" cy="6994525"/>
              </a:xfrm>
              <a:prstGeom prst="rect">
                <a:avLst/>
              </a:prstGeom>
            </p:spPr>
          </p:pic>
        </mc:Fallback>
      </mc:AlternateContent>
    </p:spTree>
    <p:extLst>
      <p:ext uri="{BB962C8B-B14F-4D97-AF65-F5344CB8AC3E}">
        <p14:creationId xmlns:p14="http://schemas.microsoft.com/office/powerpoint/2010/main" val="4049856942"/>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923330"/>
          </a:xfrm>
        </p:spPr>
        <p:txBody>
          <a:bodyPr/>
          <a:lstStyle/>
          <a:p>
            <a:pPr marL="0" indent="0" algn="ctr">
              <a:buNone/>
            </a:pPr>
            <a:r>
              <a:rPr lang="en-US" sz="6000" dirty="0"/>
              <a:t>https://aka.ms/mppc-location</a:t>
            </a:r>
          </a:p>
        </p:txBody>
      </p:sp>
    </p:spTree>
    <p:extLst>
      <p:ext uri="{BB962C8B-B14F-4D97-AF65-F5344CB8AC3E}">
        <p14:creationId xmlns:p14="http://schemas.microsoft.com/office/powerpoint/2010/main" val="413153904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2" name="Add-in 1" title="Microsoft Power BI">
                <a:extLst>
                  <a:ext uri="{FF2B5EF4-FFF2-40B4-BE49-F238E27FC236}">
                    <a16:creationId xmlns:a16="http://schemas.microsoft.com/office/drawing/2014/main" id="{CC5FE54F-DE3D-668F-0224-FF56F98E1B55}"/>
                  </a:ext>
                </a:extLst>
              </p:cNvPr>
              <p:cNvGraphicFramePr>
                <a:graphicFrameLocks noGrp="1"/>
              </p:cNvGraphicFramePr>
              <p:nvPr>
                <p:extLst>
                  <p:ext uri="{D42A27DB-BD31-4B8C-83A1-F6EECF244321}">
                    <p14:modId xmlns:p14="http://schemas.microsoft.com/office/powerpoint/2010/main" val="1615900343"/>
                  </p:ext>
                </p:extLst>
              </p:nvPr>
            </p:nvGraphicFramePr>
            <p:xfrm>
              <a:off x="0" y="-1"/>
              <a:ext cx="12434888" cy="6994525"/>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2" name="Add-in 1" title="Microsoft Power BI">
                <a:extLst>
                  <a:ext uri="{FF2B5EF4-FFF2-40B4-BE49-F238E27FC236}">
                    <a16:creationId xmlns:a16="http://schemas.microsoft.com/office/drawing/2014/main" id="{CC5FE54F-DE3D-668F-0224-FF56F98E1B55}"/>
                  </a:ext>
                </a:extLst>
              </p:cNvPr>
              <p:cNvPicPr>
                <a:picLocks noGrp="1" noRot="1" noChangeAspect="1" noMove="1" noResize="1" noEditPoints="1" noAdjustHandles="1" noChangeArrowheads="1" noChangeShapeType="1"/>
              </p:cNvPicPr>
              <p:nvPr/>
            </p:nvPicPr>
            <p:blipFill>
              <a:blip r:embed="rId4"/>
              <a:stretch>
                <a:fillRect/>
              </a:stretch>
            </p:blipFill>
            <p:spPr>
              <a:xfrm>
                <a:off x="0" y="-1"/>
                <a:ext cx="12434888" cy="6994525"/>
              </a:xfrm>
              <a:prstGeom prst="rect">
                <a:avLst/>
              </a:prstGeom>
            </p:spPr>
          </p:pic>
        </mc:Fallback>
      </mc:AlternateContent>
    </p:spTree>
    <p:extLst>
      <p:ext uri="{BB962C8B-B14F-4D97-AF65-F5344CB8AC3E}">
        <p14:creationId xmlns:p14="http://schemas.microsoft.com/office/powerpoint/2010/main" val="1221072378"/>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1134581134"/>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882698997"/>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1820482319"/>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78"/>
                                        </p:tgtEl>
                                        <p:attrNameLst>
                                          <p:attrName>style.visibility</p:attrName>
                                        </p:attrNameLst>
                                      </p:cBhvr>
                                      <p:to>
                                        <p:strVal val="visible"/>
                                      </p:to>
                                    </p:set>
                                    <p:anim calcmode="lin" valueType="num">
                                      <p:cBhvr additive="base">
                                        <p:cTn id="7" dur="500" fill="hold"/>
                                        <p:tgtEl>
                                          <p:spTgt spid="562178"/>
                                        </p:tgtEl>
                                        <p:attrNameLst>
                                          <p:attrName>ppt_x</p:attrName>
                                        </p:attrNameLst>
                                      </p:cBhvr>
                                      <p:tavLst>
                                        <p:tav tm="0">
                                          <p:val>
                                            <p:strVal val="#ppt_x"/>
                                          </p:val>
                                        </p:tav>
                                        <p:tav tm="100000">
                                          <p:val>
                                            <p:strVal val="#ppt_x"/>
                                          </p:val>
                                        </p:tav>
                                      </p:tavLst>
                                    </p:anim>
                                    <p:anim calcmode="lin" valueType="num">
                                      <p:cBhvr additive="base">
                                        <p:cTn id="8"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Filter pane or Slic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290003"/>
          </a:xfrm>
        </p:spPr>
        <p:txBody>
          <a:bodyPr/>
          <a:lstStyle/>
          <a:p>
            <a:r>
              <a:rPr lang="en-US" dirty="0"/>
              <a:t>Filter pane</a:t>
            </a:r>
          </a:p>
          <a:p>
            <a:pPr lvl="1"/>
            <a:r>
              <a:rPr lang="en-US" dirty="0"/>
              <a:t>Advantages; same location, advanced filtering, better performance</a:t>
            </a:r>
          </a:p>
          <a:p>
            <a:pPr lvl="1"/>
            <a:r>
              <a:rPr lang="en-US" dirty="0"/>
              <a:t>Disadvantages; less design flexibility, more difficult to see which filters are applied</a:t>
            </a:r>
          </a:p>
          <a:p>
            <a:r>
              <a:rPr lang="en-US"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2167896620"/>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5267" y="2876668"/>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5647" y="4411339"/>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pPr marL="0" indent="0">
              <a:buNone/>
            </a:pPr>
            <a:endParaRPr lang="en-US" dirty="0"/>
          </a:p>
          <a:p>
            <a:pPr marL="0" indent="0">
              <a:buNone/>
            </a:pPr>
            <a:endParaRPr lang="en-US" b="1" dirty="0"/>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120244"/>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To ensure the solution that we develop can be reused by others in our department, we’ll create a reusable data preparation logic that can be easily connected to.</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5 second rule</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758668" cy="307777"/>
          </a:xfrm>
          <a:prstGeom prst="rect">
            <a:avLst/>
          </a:prstGeom>
          <a:noFill/>
        </p:spPr>
        <p:txBody>
          <a:bodyPr wrap="none" lIns="0" tIns="0" rIns="0" bIns="0" rtlCol="0">
            <a:spAutoFit/>
          </a:bodyPr>
          <a:lstStyle/>
          <a:p>
            <a:pPr algn="l"/>
            <a:r>
              <a:rPr lang="en-US" sz="2000" dirty="0"/>
              <a:t>5 seconds is the general acceptance for a report page load. Anything over that and you lose your viewer</a:t>
            </a:r>
          </a:p>
        </p:txBody>
      </p:sp>
      <p:pic>
        <p:nvPicPr>
          <p:cNvPr id="1026" name="Picture 2" descr="See the source image">
            <a:extLst>
              <a:ext uri="{FF2B5EF4-FFF2-40B4-BE49-F238E27FC236}">
                <a16:creationId xmlns:a16="http://schemas.microsoft.com/office/drawing/2014/main" id="{02B7210E-5CFF-8F53-3D43-AB78C47A62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4092" y="2752007"/>
            <a:ext cx="5286703" cy="37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939250"/>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Performance Analyzer is your friend</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239464" cy="738664"/>
          </a:xfrm>
          <a:prstGeom prst="rect">
            <a:avLst/>
          </a:prstGeom>
          <a:noFill/>
        </p:spPr>
        <p:txBody>
          <a:bodyPr wrap="square" lIns="0" tIns="0" rIns="0" bIns="0" rtlCol="0">
            <a:spAutoFit/>
          </a:bodyPr>
          <a:lstStyle/>
          <a:p>
            <a:pPr algn="l"/>
            <a:r>
              <a:rPr lang="en-US" sz="2400" dirty="0"/>
              <a:t>Validate with performance analyzer! If it doesn’t perform in Power BI Desktop, don’t expect it to in the service!</a:t>
            </a:r>
          </a:p>
        </p:txBody>
      </p:sp>
      <p:pic>
        <p:nvPicPr>
          <p:cNvPr id="4" name="Picture 3">
            <a:extLst>
              <a:ext uri="{FF2B5EF4-FFF2-40B4-BE49-F238E27FC236}">
                <a16:creationId xmlns:a16="http://schemas.microsoft.com/office/drawing/2014/main" id="{C1DFDE85-F824-E564-5CA0-990926C83524}"/>
              </a:ext>
            </a:extLst>
          </p:cNvPr>
          <p:cNvPicPr>
            <a:picLocks noChangeAspect="1"/>
          </p:cNvPicPr>
          <p:nvPr/>
        </p:nvPicPr>
        <p:blipFill>
          <a:blip r:embed="rId2"/>
          <a:stretch>
            <a:fillRect/>
          </a:stretch>
        </p:blipFill>
        <p:spPr>
          <a:xfrm>
            <a:off x="3831977" y="2601442"/>
            <a:ext cx="4770933" cy="3987137"/>
          </a:xfrm>
          <a:prstGeom prst="rect">
            <a:avLst/>
          </a:prstGeom>
        </p:spPr>
      </p:pic>
      <p:sp>
        <p:nvSpPr>
          <p:cNvPr id="5" name="Rectangle 4">
            <a:extLst>
              <a:ext uri="{FF2B5EF4-FFF2-40B4-BE49-F238E27FC236}">
                <a16:creationId xmlns:a16="http://schemas.microsoft.com/office/drawing/2014/main" id="{CCABC2D9-B1ED-F28B-0335-AECEB4B724D8}"/>
              </a:ext>
            </a:extLst>
          </p:cNvPr>
          <p:cNvSpPr/>
          <p:nvPr/>
        </p:nvSpPr>
        <p:spPr bwMode="auto">
          <a:xfrm>
            <a:off x="7943850" y="4577199"/>
            <a:ext cx="571500" cy="185477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316738"/>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51795"/>
          </a:xfrm>
        </p:spPr>
        <p:txBody>
          <a:bodyPr/>
          <a:lstStyle/>
          <a:p>
            <a:r>
              <a:rPr lang="en-US" dirty="0"/>
              <a:t>Testing </a:t>
            </a:r>
          </a:p>
          <a:p>
            <a:pPr lvl="1"/>
            <a:r>
              <a:rPr lang="en-US" dirty="0"/>
              <a:t>User acceptance test, test on different interfaces (Service, mobile app, embedded), Performance!</a:t>
            </a:r>
          </a:p>
          <a:p>
            <a:r>
              <a:rPr lang="en-US" dirty="0"/>
              <a:t>Prepare for publication</a:t>
            </a:r>
          </a:p>
          <a:p>
            <a:pPr lvl="1"/>
            <a:r>
              <a:rPr lang="en-US" dirty="0"/>
              <a:t>Set intended initial experience, e.g., define first page, reset filters and slicers, visual drill state, sort orders, and button state</a:t>
            </a:r>
          </a:p>
          <a:p>
            <a:r>
              <a:rPr lang="en-US" dirty="0"/>
              <a:t>Provide support </a:t>
            </a:r>
          </a:p>
          <a:p>
            <a:pPr lvl="1"/>
            <a:r>
              <a:rPr lang="en-US" dirty="0"/>
              <a:t>Training, built-in assistance, documentation</a:t>
            </a:r>
          </a:p>
          <a:p>
            <a:r>
              <a:rPr lang="en-US" dirty="0"/>
              <a:t>Manage change </a:t>
            </a:r>
          </a:p>
          <a:p>
            <a:pPr lvl="1"/>
            <a:r>
              <a:rPr lang="en-US" dirty="0"/>
              <a:t>Often, it's better to publish a new report that includes many updates than release smaller incremental changes, consider using Deployment pipelines</a:t>
            </a:r>
          </a:p>
          <a:p>
            <a:pPr marL="0" indent="0">
              <a:buNone/>
            </a:pPr>
            <a:endParaRPr lang="en-US" dirty="0"/>
          </a:p>
        </p:txBody>
      </p:sp>
    </p:spTree>
    <p:extLst>
      <p:ext uri="{BB962C8B-B14F-4D97-AF65-F5344CB8AC3E}">
        <p14:creationId xmlns:p14="http://schemas.microsoft.com/office/powerpoint/2010/main" val="3948095550"/>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Want more?</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r>
              <a:rPr lang="en-US" sz="3200" dirty="0"/>
              <a:t>. </a:t>
            </a:r>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5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64.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6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1492071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dirty="0">
                <a:latin typeface="Segoe UI" panose="020B0502040204020203" pitchFamily="34" charset="0"/>
              </a:rPr>
              <a:t>The Power Query Formula Language is a powerful </a:t>
            </a:r>
            <a:r>
              <a:rPr lang="en-US" sz="2450" b="1" dirty="0">
                <a:gradFill>
                  <a:gsLst>
                    <a:gs pos="2917">
                      <a:srgbClr val="505050"/>
                    </a:gs>
                    <a:gs pos="30000">
                      <a:srgbClr val="505050"/>
                    </a:gs>
                  </a:gsLst>
                  <a:lin ang="5400000" scaled="0"/>
                </a:gradFill>
                <a:latin typeface="Segoe UI"/>
                <a:cs typeface="+mn-cs"/>
              </a:rPr>
              <a:t>query language </a:t>
            </a:r>
            <a:r>
              <a:rPr lang="en-US" sz="2448" dirty="0">
                <a:latin typeface="Segoe UI" panose="020B0502040204020203" pitchFamily="34" charset="0"/>
              </a:rPr>
              <a:t>optimized for building queries that </a:t>
            </a:r>
            <a:r>
              <a:rPr lang="en-US" sz="2450" b="1" u="sng" dirty="0">
                <a:gradFill>
                  <a:gsLst>
                    <a:gs pos="2917">
                      <a:srgbClr val="505050"/>
                    </a:gs>
                    <a:gs pos="30000">
                      <a:srgbClr val="505050"/>
                    </a:gs>
                  </a:gsLst>
                  <a:lin ang="5400000" scaled="0"/>
                </a:gradFill>
                <a:latin typeface="Segoe UI"/>
                <a:cs typeface="+mn-cs"/>
              </a:rPr>
              <a:t>m</a:t>
            </a:r>
            <a:r>
              <a:rPr lang="en-US" sz="2448" dirty="0">
                <a:latin typeface="Segoe UI" panose="020B0502040204020203" pitchFamily="34" charset="0"/>
              </a:rPr>
              <a:t>ashup data. It's a functional, case sensitive language.</a:t>
            </a:r>
          </a:p>
          <a:p>
            <a:pPr marL="0" indent="0">
              <a:buNone/>
            </a:pPr>
            <a:endParaRPr lang="en-US" sz="2448" dirty="0">
              <a:latin typeface="Segoe UI" panose="020B0502040204020203" pitchFamily="34" charset="0"/>
            </a:endParaRPr>
          </a:p>
          <a:p>
            <a:pPr marL="0" indent="0">
              <a:buNone/>
            </a:pPr>
            <a:r>
              <a:rPr lang="en-US" sz="2448" dirty="0">
                <a:latin typeface="Segoe UI" panose="020B0502040204020203" pitchFamily="34" charset="0"/>
              </a:rPr>
              <a:t>For computer language theorists: Power Query is a mostly pure, </a:t>
            </a:r>
            <a:r>
              <a:rPr lang="en-US" sz="2448" u="sng" dirty="0">
                <a:latin typeface="Segoe UI" panose="020B0502040204020203" pitchFamily="34" charset="0"/>
              </a:rPr>
              <a:t>higher-order</a:t>
            </a:r>
            <a:r>
              <a:rPr lang="en-US" sz="2448" dirty="0">
                <a:latin typeface="Segoe UI" panose="020B0502040204020203" pitchFamily="34" charset="0"/>
              </a:rPr>
              <a:t>, </a:t>
            </a:r>
            <a:r>
              <a:rPr lang="en-US" sz="2448" u="sng" dirty="0">
                <a:latin typeface="Segoe UI" panose="020B0502040204020203" pitchFamily="34" charset="0"/>
              </a:rPr>
              <a:t>dynamically typed</a:t>
            </a:r>
            <a:r>
              <a:rPr lang="en-US" sz="2448" dirty="0">
                <a:latin typeface="Segoe UI" panose="020B0502040204020203" pitchFamily="34" charset="0"/>
              </a:rPr>
              <a:t>, </a:t>
            </a:r>
            <a:r>
              <a:rPr lang="en-US" sz="2448" u="sng" dirty="0">
                <a:latin typeface="Segoe UI" panose="020B0502040204020203" pitchFamily="34" charset="0"/>
              </a:rPr>
              <a:t>partially lazy</a:t>
            </a:r>
            <a:r>
              <a:rPr lang="en-US" sz="2448" dirty="0">
                <a:latin typeface="Segoe UI" panose="020B0502040204020203" pitchFamily="34" charset="0"/>
              </a:rPr>
              <a:t>, </a:t>
            </a:r>
            <a:r>
              <a:rPr lang="en-US" sz="2450" b="1" dirty="0">
                <a:gradFill>
                  <a:gsLst>
                    <a:gs pos="2917">
                      <a:srgbClr val="505050"/>
                    </a:gs>
                    <a:gs pos="30000">
                      <a:srgbClr val="505050"/>
                    </a:gs>
                  </a:gsLst>
                  <a:lin ang="5400000" scaled="0"/>
                </a:gradFill>
                <a:latin typeface="Segoe UI"/>
                <a:cs typeface="+mn-cs"/>
              </a:rPr>
              <a:t>functional language</a:t>
            </a:r>
            <a:r>
              <a:rPr lang="en-US" sz="2448" dirty="0">
                <a:latin typeface="Segoe UI" panose="020B0502040204020203" pitchFamily="34" charset="0"/>
              </a:rPr>
              <a:t>. You can create a variety of data mashup queries from simple to advanced scenarios.</a:t>
            </a: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the GUI 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35868992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69995374"/>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amp; Q&amp;A</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IN" sz="1400" dirty="0">
                          <a:solidFill>
                            <a:schemeClr val="tx1"/>
                          </a:solidFill>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17093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48754936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4612347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8828955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40948546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4083425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16463848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5679139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3343807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4379242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3896218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1893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77977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623931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3926256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421777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34355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7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590942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50869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153171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mc:AlternateContent xmlns:mc="http://schemas.openxmlformats.org/markup-compatibility/2006">
    <mc:Choice xmlns:p14="http://schemas.microsoft.com/office/powerpoint/2010/main" Requires="p14">
      <p:transition p14:dur="1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71.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172.png"/></Relationships>
</file>

<file path=ppt/webextensions/webextension1.xml><?xml version="1.0" encoding="utf-8"?>
<we:webextension xmlns:we="http://schemas.microsoft.com/office/webextensions/webextension/2010/11" id="{4478DA8D-E14E-4FBE-8A13-5A60FEDC220D}">
  <we:reference id="wa200003233" version="2.0.0.3" store="en-US" storeType="OMEX"/>
  <we:alternateReferences>
    <we:reference id="WA200003233" version="2.0.0.3" store="WA200003233" storeType="OMEX"/>
  </we:alternateReferences>
  <we:properties>
    <we:property name="backgroundColor" value="&quot;rgb(255,255,255)&quot;"/>
    <we:property name="bookmark" value="&quot;H4sIAAAAAAAAA8VTwU7jMBD9FeRztGqgK3Z7C6FcWKBqERdUoakzDQbXtsZOIYvy74yddJfCHjggbS7xvBnPPL9nv4hKeaehvYQNiok4sfZxA/R4kItMmAG7ujq/KObnd5fFxZRh64KyxovJiwhANYYb5RvQsQODt8tMgNYzqGO0Bu0xEw7JWwNa/ca+mFOBGuwygc9OW4LYchEgYGy75XKOeXb+7YgnggxqiwuUoUfn6CyFXZwJ368Spf1cbJYGltYEUIYbR6waj/D4xzj/mY8OcVWN82MpI75WOgwlq3b67IjPw6dsXdShqLZgJFYikSb0fphQ1DVhDbuB071kaXWz+Qe+sA1JnOM6pUxQoeUZTqG8BwqiY2lmZFm4hBfGPyEl9Kwxw9m+x/DePpWELFwlJqMu+8O2ZKi2pCToD4S/nNM+iSUjXplaD2b/deG658Ydy9SRL9Pqga2KivMmSxXSSZtEP1W08/Awe8fzPwreLXfXkYsf3ty7Qe+e/BdzWHbpe6uW2CA/vbiwTfAOJM7AYBru+g4KUx07D6aKxqQ1xf8vxbe89+UGdBMtSQ9VpCFslVpp/OyGgd4rs73uDEoEAAA=&quot;"/>
    <we:property name="creatorSessionId" value="&quot;f433d3a9-59f5-4531-9343-7285105f2742&quot;"/>
    <we:property name="creatorTenantId" value="&quot;72f988bf-86f1-41af-91ab-2d7cd011db47&quot;"/>
    <we:property name="creatorUserId" value="&quot;10033FFF801C2909&quot;"/>
    <we:property name="datasetId" value="&quot;e5a66aeb-c3c2-4aee-9ab6-64e776588ac7&quot;"/>
    <we:property name="embedUrl" value="&quot;/reportEmbed?reportId=296cdfe0-47df-4d96-a92e-810943699a92&amp;config=eyJjbHVzdGVyVXJsIjoiaHR0cHM6Ly9ERi1NU0lULVNDVVMtcmVkaXJlY3QuYW5hbHlzaXMud2luZG93cy5uZXQiLCJlbWJlZEZlYXR1cmVzIjp7Im1vZGVybkVtYmVkIjp0cnVlLCJ1c2FnZU1ldHJpY3NWTmV4dCI6dHJ1ZSwic2tpcFF1ZXJ5RGF0YVNhYVNFbWJlZCI6dHJ1ZSwic2tpcFF1ZXJ5RGF0YVBhYVNFbWJlZCI6dHJ1ZSwic2tpcFF1ZXJ5RGF0YUV4cG9ydFRvIjp0cnVlfX0%3D&amp;disableSensitivityBanner=true&quot;"/>
    <we:property name="initialStateBookmark" value="&quot;H4sIAAAAAAAAA8VTwU7jMBD9FeRztGqgK3Z7C6FcWKBqERdUoakzDQbXtsZOIYvy74yddJfCHjggbS7xvBnPPL9nv4hKeaehvYQNiok4sfZxA/R4kItMmAG7ujq/KObnd5fFxZRh64KyxovJiwhANYYb5RvQsQODt8tMgNYzqGO0Bu0xEw7JWwNa/ca+mFOBGuwygc9OW4LYchEgYGy75XKOeXb+7YgnggxqiwuUoUfn6CyFXZwJ368Spf1cbJYGltYEUIYbR6waj/D4xzj/mY8OcVWN82MpI75WOgwlq3b67IjPw6dsXdShqLZgJFYikSb0fphQ1DVhDbuB071kaXWz+Qe+sA1JnOM6pUxQoeUZTqG8BwqiY2lmZFm4hBfGPyEl9Kwxw9m+x/DePpWELFwlJqMu+8O2ZKi2pCToD4S/nNM+iSUjXplaD2b/deG658Ydy9SRL9Pqga2KivMmSxXSSZtEP1W08/Awe8fzPwreLXfXkYsf3ty7Qe+e/BdzWHbpe6uW2CA/vbiwTfAOJM7AYBru+g4KUx07D6aKxqQ1xf8vxbe89+UGdBMtSQ9VpCFslVpp/OyGgd4rs73uDEoEAAA=&quot;"/>
    <we:property name="isFiltersActionButtonVisible" value="false"/>
    <we:property name="isFooterCollapsed" value="true"/>
    <we:property name="pageDisplayName" value="&quot;Pie Chart&quot;"/>
    <we:property name="pageName" value="&quot;ReportSection&quot;"/>
    <we:property name="reportEmbeddedTime" value="&quot;2022-09-18T17:10:28.781Z&quot;"/>
    <we:property name="reportName" value="&quot;Survey Questions&quot;"/>
    <we:property name="reportState" value="&quot;CONNECTED&quot;"/>
    <we:property name="reportUrl" value="&quot;/groups/me/reports/296cdfe0-47df-4d96-a92e-810943699a92/ReportSection?bookmarkGuid=3f430e51-5ed2-4d86-a47c-9fa59b8800e6&amp;bookmarkUsage=1&amp;ctid=72f988bf-86f1-41af-91ab-2d7cd011db47&amp;fromEntryPoint=export&quot;"/>
    <we:property name="sensitivityLabel" value="&quot;Public&quot;"/>
    <we:property name="sensitivityLabelTooltip" value="&quot;Business data specifically prepared and approved for public consumption. Data is not encrypted, and cannot be tracked or revoked. &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93532495-8108-4F54-BBE1-ED1695101F49}">
  <we:reference id="wa200003233" version="2.0.0.3" store="en-US" storeType="OMEX"/>
  <we:alternateReferences>
    <we:reference id="WA200003233" version="2.0.0.3" store="WA200003233" storeType="OMEX"/>
  </we:alternateReferences>
  <we:properties>
    <we:property name="backgroundColor" value="&quot;rgb(255,255,255)&quot;"/>
    <we:property name="bookmark" value="&quot;H4sIAAAAAAAAA+1WsW7bMBD9lYKzUNiWLUveHNdd0iSGXWQpjOJEnRQmNElQlBPX8L/3SClN4wxpgSBZPIl8PN699/gG7VkhaiNhdwkbZBN2pvXdBuzdpz6LmOqwq6vzi+ny/Ofl9GJOsDZOaFWzyZ45sBW6a1E3IH0HAn+sIwZSLqDyuxJkjREzaGutQIpf2BbTkbMNHiKGD0ZqC77lyoFD33ZL5bSn2f3PMU0E7sQWV8hdiy7RaOu6fZwNBqOMj8phCmWaZnE5RLpTt6eB5uv1fmggNtPKgVBEwGNZliT5MM3yGDIYQZ4g73m8FNJ1Jflu/mAs6SY3dsb7NSMVlbaCg2RBn8W6lbNnMy2bTVjNn+Er3ViOSyzDkXLC7aiT1DwYww5k1MJqsjHgU1Xfow3ojb6fWaSJBZv0DtEfEtNiC4oTesxgWlUWq7btCxpvTu9ro7pHG71kuyakFqqSXSieXuF7K8IInN2AdT50+S09n3ecLmlboD3bBdO/CPuYi0F0RPsDtR7Wj7Gl4tu/stiloyX/xhzWB3/SH8Zj7GHMS4j5uESexHgK7buFNgd7Cu1/h7YYQpqkkMbjNC5zSJLBKD+F9t1CuwFznNcPCULIwhMNtkH6wfAL3bjaAMcFKAzDTdtBYKgj50EVXmxYW//9Jig5rdZrkI2XGX5HWBhC8kUu8V8vdPR+AyTXMHUwCQAA&quot;"/>
    <we:property name="creatorSessionId" value="&quot;e5b225b0-fedd-4d04-8cae-c214ef96bc6c&quot;"/>
    <we:property name="creatorTenantId" value="&quot;72f988bf-86f1-41af-91ab-2d7cd011db47&quot;"/>
    <we:property name="creatorUserId" value="&quot;10033FFF801C2909&quot;"/>
    <we:property name="datasetId" value="&quot;e5a66aeb-c3c2-4aee-9ab6-64e776588ac7&quot;"/>
    <we:property name="embedUrl" value="&quot;/reportEmbed?reportId=296cdfe0-47df-4d96-a92e-810943699a92&amp;config=eyJjbHVzdGVyVXJsIjoiaHR0cHM6Ly9ERi1NU0lULVNDVVMtcmVkaXJlY3QuYW5hbHlzaXMud2luZG93cy5uZXQiLCJlbWJlZEZlYXR1cmVzIjp7Im1vZGVybkVtYmVkIjp0cnVlLCJ1c2FnZU1ldHJpY3NWTmV4dCI6dHJ1ZSwic2tpcFF1ZXJ5RGF0YVNhYVNFbWJlZCI6dHJ1ZSwic2tpcFF1ZXJ5RGF0YVBhYVNFbWJlZCI6dHJ1ZSwic2tpcFF1ZXJ5RGF0YUV4cG9ydFRvIjp0cnVlfX0%3D&amp;disableSensitivityBanner=true&quot;"/>
    <we:property name="initialStateBookmark" value="&quot;H4sIAAAAAAAAA+1WsW7bMBD9lYKzUNiWLUveHNdd0iSGXWQpjOJEnRQmNElQlBPX8L/3SClN4wxpgSBZPIl8PN699/gG7VkhaiNhdwkbZBN2pvXdBuzdpz6LmOqwq6vzi+ny/Ofl9GJOsDZOaFWzyZ45sBW6a1E3IH0HAn+sIwZSLqDyuxJkjREzaGutQIpf2BbTkbMNHiKGD0ZqC77lyoFD33ZL5bSn2f3PMU0E7sQWV8hdiy7RaOu6fZwNBqOMj8phCmWaZnE5RLpTt6eB5uv1fmggNtPKgVBEwGNZliT5MM3yGDIYQZ4g73m8FNJ1Jflu/mAs6SY3dsb7NSMVlbaCg2RBn8W6lbNnMy2bTVjNn+Er3ViOSyzDkXLC7aiT1DwYww5k1MJqsjHgU1Xfow3ojb6fWaSJBZv0DtEfEtNiC4oTesxgWlUWq7btCxpvTu9ro7pHG71kuyakFqqSXSieXuF7K8IInN2AdT50+S09n3ecLmlboD3bBdO/CPuYi0F0RPsDtR7Wj7Gl4tu/stiloyX/xhzWB3/SH8Zj7GHMS4j5uESexHgK7buFNgd7Cu1/h7YYQpqkkMbjNC5zSJLBKD+F9t1CuwFznNcPCULIwhMNtkH6wfAL3bjaAMcFKAzDTdtBYKgj50EVXmxYW//9Jig5rdZrkI2XGX5HWBhC8kUu8V8vdPR+AyTXMHUwCQAA&quot;"/>
    <we:property name="isFiltersActionButtonVisible" value="false"/>
    <we:property name="isFooterCollapsed" value="true"/>
    <we:property name="pageDisplayName" value="&quot;Location&quot;"/>
    <we:property name="pageName" value="&quot;ReportSection392259c5f48af8893f4e&quot;"/>
    <we:property name="reportEmbeddedTime" value="&quot;2022-09-18T17:11:03.917Z&quot;"/>
    <we:property name="reportName" value="&quot;Survey Questions&quot;"/>
    <we:property name="reportState" value="&quot;CONNECTED&quot;"/>
    <we:property name="reportUrl" value="&quot;/groups/me/reports/296cdfe0-47df-4d96-a92e-810943699a92/ReportSection392259c5f48af8893f4e?bookmarkGuid=fe4da968-4a42-45ed-8f82-be9568fb75fc&amp;bookmarkUsage=1&amp;ctid=72f988bf-86f1-41af-91ab-2d7cd011db47&amp;fromEntryPoint=export&quot;"/>
    <we:property name="sensitivityLabel" value="&quot;Public&quot;"/>
    <we:property name="sensitivityLabelTooltip" value="&quot;Business data specifically prepared and approved for public consumption. Data is not encrypted, and cannot be tracked or revoked. &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952</TotalTime>
  <Words>14307</Words>
  <Application>Microsoft Office PowerPoint</Application>
  <PresentationFormat>Custom</PresentationFormat>
  <Paragraphs>2971</Paragraphs>
  <Slides>205</Slides>
  <Notes>89</Notes>
  <HiddenSlides>32</HiddenSlides>
  <MMClips>5</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205</vt:i4>
      </vt:variant>
    </vt:vector>
  </HeadingPairs>
  <TitlesOfParts>
    <vt:vector size="239"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Power Platform Conference Session resources</vt:lpstr>
      <vt:lpstr>THE DAY AFTER *DASHBOARD  IN A DAY * Technically it was a report</vt:lpstr>
      <vt:lpstr>PowerPoint Presentation</vt:lpstr>
      <vt:lpstr>Session Feedback Surveys</vt:lpstr>
      <vt:lpstr>Agenda (times are approximate and will be fluid with the class)</vt:lpstr>
      <vt:lpstr>A retrospective…</vt:lpstr>
      <vt:lpstr>The Evolution of BI</vt:lpstr>
      <vt:lpstr>Power BI  monthly active usage</vt:lpstr>
      <vt:lpstr>PowerPoint Presentation</vt:lpstr>
      <vt:lpstr>PowerPoint Presentation</vt:lpstr>
      <vt:lpstr>PowerPoint Presentation</vt:lpstr>
      <vt:lpstr>PowerPoint Presentation</vt:lpstr>
      <vt:lpstr>All materials available at:</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Visual Encoding</vt:lpstr>
      <vt:lpstr>PowerPoint Presentation</vt:lpstr>
      <vt:lpstr>We know it when we see it…</vt:lpstr>
      <vt:lpstr>We know it when we see it…</vt:lpstr>
      <vt:lpstr>We know it when we see it…</vt:lpstr>
      <vt:lpstr>PowerPoint Presentation</vt:lpstr>
      <vt:lpstr>PowerPoint Presentation</vt:lpstr>
      <vt:lpstr>PowerPoint Presentation</vt:lpstr>
      <vt:lpstr>PowerPoint Presentation</vt:lpstr>
      <vt:lpstr>Visual Selection</vt:lpstr>
      <vt:lpstr>PowerPoint Presentation</vt:lpstr>
      <vt:lpstr>PowerPoint Presentation</vt:lpstr>
      <vt:lpstr>Report Layout</vt:lpstr>
      <vt:lpstr>Report Layout</vt:lpstr>
      <vt:lpstr>Report Layout</vt:lpstr>
      <vt:lpstr>Report Layout</vt:lpstr>
      <vt:lpstr>7 Steps In Report Building</vt:lpstr>
      <vt:lpstr>Filtering</vt:lpstr>
      <vt:lpstr>Advanced Filtering Techniques</vt:lpstr>
      <vt:lpstr>Filter pane or Slic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Report Design Tools</vt:lpstr>
      <vt:lpstr>Report Design Tools</vt:lpstr>
      <vt:lpstr>Report Design Tools</vt:lpstr>
      <vt:lpstr>Report Design Tools</vt:lpstr>
      <vt:lpstr>Report Design Tools</vt:lpstr>
      <vt:lpstr>Mobile Experience</vt:lpstr>
      <vt:lpstr>Design Reports For Accessibility</vt:lpstr>
      <vt:lpstr>5 second rule</vt:lpstr>
      <vt:lpstr>Performance Analyzer is your friend</vt:lpstr>
      <vt:lpstr>Before You Publish The Report</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 Surveys</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2-09-22T15:2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